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90" r:id="rId6"/>
  </p:sldMasterIdLst>
  <p:notesMasterIdLst>
    <p:notesMasterId r:id="rId11"/>
  </p:notesMasterIdLst>
  <p:sldIdLst>
    <p:sldId id="2892" r:id="rId7"/>
    <p:sldId id="2895" r:id="rId8"/>
    <p:sldId id="2897" r:id="rId9"/>
    <p:sldId id="2896" r:id="rId10"/>
  </p:sldIdLst>
  <p:sldSz cx="12192000" cy="6858000"/>
  <p:notesSz cx="7010400" cy="923607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EE5B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86" autoAdjust="0"/>
    <p:restoredTop sz="94343" autoAdjust="0"/>
  </p:normalViewPr>
  <p:slideViewPr>
    <p:cSldViewPr snapToGrid="0">
      <p:cViewPr varScale="1">
        <p:scale>
          <a:sx n="83" d="100"/>
          <a:sy n="83" d="100"/>
        </p:scale>
        <p:origin x="778" y="62"/>
      </p:cViewPr>
      <p:guideLst>
        <p:guide orient="horz" pos="129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1DE243FB-67CE-49AC-94D7-620849D7F443}" type="datetimeFigureOut">
              <a:rPr lang="en-US" smtClean="0"/>
              <a:t>2/2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BB6CC313-BF8D-439D-8F8D-645363EE55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695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CC313-BF8D-439D-8F8D-645363EE554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79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CC313-BF8D-439D-8F8D-645363EE554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34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CC313-BF8D-439D-8F8D-645363EE554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91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5721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- White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36084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03202" y="838200"/>
            <a:ext cx="11785600" cy="53943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15900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000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893279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69" y="5267475"/>
            <a:ext cx="12192000" cy="159052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4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889"/>
            <a:ext cx="1859310" cy="155664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69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1545168" y="1509732"/>
            <a:ext cx="910620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45169" y="990600"/>
            <a:ext cx="9099550" cy="4572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Divider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693401" y="112888"/>
            <a:ext cx="1130118" cy="49244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+mn-lt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697054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69" y="5267475"/>
            <a:ext cx="12192000" cy="15905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4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938"/>
            <a:ext cx="1859310" cy="15556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69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1545168" y="1509732"/>
            <a:ext cx="910620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45169" y="990600"/>
            <a:ext cx="9099550" cy="4572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521155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69" y="5267475"/>
            <a:ext cx="12192000" cy="1590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4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938"/>
            <a:ext cx="1859310" cy="155567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69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1545168" y="1509732"/>
            <a:ext cx="910620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45169" y="990600"/>
            <a:ext cx="9099550" cy="45720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29852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2569" y="1"/>
            <a:ext cx="12192000" cy="526747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52224" y="1108391"/>
            <a:ext cx="9092498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216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8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889"/>
            <a:ext cx="1859310" cy="155664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73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6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225240481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2569" y="1"/>
            <a:ext cx="12192000" cy="526747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52224" y="1108391"/>
            <a:ext cx="9092498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216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8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889"/>
            <a:ext cx="1859310" cy="155664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73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6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111960919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2569" y="1"/>
            <a:ext cx="12192000" cy="526747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52224" y="1108391"/>
            <a:ext cx="9092498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216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8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889"/>
            <a:ext cx="1859310" cy="155664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73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6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404153884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V="1">
            <a:off x="2569" y="1"/>
            <a:ext cx="12192000" cy="526747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52224" y="1108391"/>
            <a:ext cx="9092498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 sz="2160">
                <a:solidFill>
                  <a:schemeClr val="bg1"/>
                </a:solidFill>
                <a:latin typeface="Calibri Light"/>
                <a:cs typeface="Calibri Light"/>
              </a:rPr>
              <a:t>Click to edit divider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1538518" y="1483003"/>
            <a:ext cx="910620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KPLogoBlu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47" y="5977889"/>
            <a:ext cx="1859310" cy="155664"/>
          </a:xfrm>
          <a:prstGeom prst="rect">
            <a:avLst/>
          </a:prstGeom>
        </p:spPr>
      </p:pic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73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26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</p:spTree>
    <p:extLst>
      <p:ext uri="{BB962C8B-B14F-4D97-AF65-F5344CB8AC3E}">
        <p14:creationId xmlns:p14="http://schemas.microsoft.com/office/powerpoint/2010/main" val="300561149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534400" cy="38099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990597"/>
            <a:ext cx="10972800" cy="2971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defRPr sz="1800">
                <a:solidFill>
                  <a:srgbClr val="4A4A4A"/>
                </a:solidFill>
                <a:latin typeface="+mj-lt"/>
              </a:defRPr>
            </a:lvl1pPr>
            <a:lvl2pPr marL="457200" indent="-228600">
              <a:lnSpc>
                <a:spcPts val="2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2pPr>
            <a:lvl3pPr marL="685800">
              <a:lnSpc>
                <a:spcPts val="2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3pPr>
            <a:lvl4pPr marL="914400" indent="-228600">
              <a:lnSpc>
                <a:spcPts val="2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60000"/>
              <a:buFont typeface="Calibri" pitchFamily="34" charset="0"/>
              <a:buChar char="○"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4pPr>
            <a:lvl5pPr marL="1143000" indent="-228600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•"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41587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0515600" cy="674914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8459" y="1045031"/>
            <a:ext cx="10635343" cy="52407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not for duplication 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29751" y="6629400"/>
            <a:ext cx="2743200" cy="228600"/>
          </a:xfrm>
        </p:spPr>
        <p:txBody>
          <a:bodyPr/>
          <a:lstStyle/>
          <a:p>
            <a:fld id="{DBF49CF3-DECD-44AA-BF84-AA55C14F58B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857" y="674914"/>
            <a:ext cx="105156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3410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2592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8173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609600" y="5843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03656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1893" y="1635733"/>
            <a:ext cx="11071907" cy="166455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893" y="214313"/>
            <a:ext cx="11071907" cy="3894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81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8065" y="6434582"/>
            <a:ext cx="11322639" cy="205376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1896" y="964406"/>
            <a:ext cx="11071905" cy="647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77">
                <a:solidFill>
                  <a:schemeClr val="tx2"/>
                </a:solidFill>
              </a:defRPr>
            </a:lvl1pPr>
            <a:lvl2pPr marL="361443" indent="0">
              <a:buNone/>
              <a:defRPr/>
            </a:lvl2pPr>
            <a:lvl3pPr marL="722887" indent="0">
              <a:buNone/>
              <a:defRPr/>
            </a:lvl3pPr>
            <a:lvl4pPr marL="1084331" indent="0">
              <a:buNone/>
              <a:defRPr/>
            </a:lvl4pPr>
            <a:lvl5pPr marL="144577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1911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1" y="450851"/>
            <a:ext cx="11106149" cy="3334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DE6CE5-132B-4432-A695-19B6F7E19CAF}" type="slidenum">
              <a:rPr lang="en-US" smtClean="0">
                <a:latin typeface="Arial"/>
              </a:rPr>
              <a:pPr>
                <a:defRPr/>
              </a:pPr>
              <a:t>‹#›</a:t>
            </a:fld>
            <a:endParaRPr lang="en-US" dirty="0">
              <a:latin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54123" y="1142766"/>
            <a:ext cx="11225951" cy="52432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57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1893" y="1635733"/>
            <a:ext cx="11071907" cy="166455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893" y="214313"/>
            <a:ext cx="11071907" cy="3894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81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8065" y="6434582"/>
            <a:ext cx="11322639" cy="205376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1896" y="964406"/>
            <a:ext cx="11071905" cy="647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77">
                <a:solidFill>
                  <a:schemeClr val="tx2"/>
                </a:solidFill>
              </a:defRPr>
            </a:lvl1pPr>
            <a:lvl2pPr marL="361443" indent="0">
              <a:buNone/>
              <a:defRPr/>
            </a:lvl2pPr>
            <a:lvl3pPr marL="722887" indent="0">
              <a:buNone/>
              <a:defRPr/>
            </a:lvl3pPr>
            <a:lvl4pPr marL="1084331" indent="0">
              <a:buNone/>
              <a:defRPr/>
            </a:lvl4pPr>
            <a:lvl5pPr marL="144577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453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/>
          </p:nvPr>
        </p:nvSpPr>
        <p:spPr>
          <a:xfrm>
            <a:off x="493484" y="765176"/>
            <a:ext cx="11184000" cy="3595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66460" indent="-26646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D_OFF_Copyright"/>
          <p:cNvSpPr txBox="1">
            <a:spLocks/>
          </p:cNvSpPr>
          <p:nvPr userDrawn="1"/>
        </p:nvSpPr>
        <p:spPr>
          <a:xfrm>
            <a:off x="8817622" y="6597650"/>
            <a:ext cx="2896020" cy="12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3576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8C8C8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5 Deloitte MCS Limited. All rights reserved.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60009" y="6597650"/>
            <a:ext cx="4896817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78367" y="6597650"/>
            <a:ext cx="480000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13880FF-B11A-4FA9-B5CC-7226C1B851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9572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  <a:prstGeom prst="rect">
            <a:avLst/>
          </a:prstGeo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/>
          <a:lstStyle/>
          <a:p>
            <a:fld id="{8C4710AC-67A9-4984-B455-C8C71191011C}" type="datetime1">
              <a:rPr lang="en-US" smtClean="0"/>
              <a:t>2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/>
          <a:lstStyle/>
          <a:p>
            <a:fld id="{158B5EE3-C8E1-4A8C-A76D-F3F6BCEAE6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730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9EB9129-EB63-FA46-B87F-E6E97A39B7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658"/>
          <a:stretch/>
        </p:blipFill>
        <p:spPr>
          <a:xfrm>
            <a:off x="0" y="-58918"/>
            <a:ext cx="12192000" cy="36930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8801" y="4286106"/>
            <a:ext cx="11057467" cy="571951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8801" y="4826307"/>
            <a:ext cx="11057467" cy="44627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accent6"/>
                </a:solidFill>
              </a:defRPr>
            </a:lvl1pPr>
            <a:lvl2pPr marL="457189" indent="0" algn="ctr">
              <a:buNone/>
              <a:defRPr/>
            </a:lvl2pPr>
            <a:lvl3pPr marL="914377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  <a:lvl6pPr marL="2285943" indent="0" algn="ctr">
              <a:buNone/>
              <a:defRPr/>
            </a:lvl6pPr>
            <a:lvl7pPr marL="2743131" indent="0" algn="ctr">
              <a:buNone/>
              <a:defRPr/>
            </a:lvl7pPr>
            <a:lvl8pPr marL="3200320" indent="0" algn="ctr">
              <a:buNone/>
              <a:defRPr/>
            </a:lvl8pPr>
            <a:lvl9pPr marL="3657509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47AFD4-412B-4F44-B0CC-38426ACAE6EB}"/>
              </a:ext>
            </a:extLst>
          </p:cNvPr>
          <p:cNvSpPr/>
          <p:nvPr userDrawn="1"/>
        </p:nvSpPr>
        <p:spPr bwMode="auto">
          <a:xfrm>
            <a:off x="0" y="3188720"/>
            <a:ext cx="12192000" cy="461665"/>
          </a:xfrm>
          <a:prstGeom prst="rect">
            <a:avLst/>
          </a:prstGeom>
          <a:solidFill>
            <a:schemeClr val="accent5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endParaRPr lang="en-US" sz="2400" dirty="0">
              <a:solidFill>
                <a:srgbClr val="000000"/>
              </a:solidFill>
              <a:latin typeface="Arial Narrow" charset="0"/>
              <a:ea typeface="ＭＳ Ｐゴシック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C9FB6A-295E-F244-95DB-08EA9B5627FB}"/>
              </a:ext>
            </a:extLst>
          </p:cNvPr>
          <p:cNvSpPr txBox="1"/>
          <p:nvPr userDrawn="1"/>
        </p:nvSpPr>
        <p:spPr>
          <a:xfrm>
            <a:off x="541867" y="2839459"/>
            <a:ext cx="11582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dirty="0">
                <a:solidFill>
                  <a:srgbClr val="FFFFFF"/>
                </a:solidFill>
                <a:latin typeface="Arial" panose="020B0604020202020204" pitchFamily="34" charset="0"/>
              </a:rPr>
              <a:t>ANALYTICS </a:t>
            </a:r>
            <a:r>
              <a:rPr lang="en-US" sz="6600" dirty="0">
                <a:solidFill>
                  <a:srgbClr val="FFFFFF"/>
                </a:solidFill>
                <a:latin typeface="Arial" panose="020B0604020202020204" pitchFamily="34" charset="0"/>
              </a:rPr>
              <a:t>2.0</a:t>
            </a:r>
          </a:p>
        </p:txBody>
      </p:sp>
      <p:sp>
        <p:nvSpPr>
          <p:cNvPr id="7" name="Rectangle 41">
            <a:extLst>
              <a:ext uri="{FF2B5EF4-FFF2-40B4-BE49-F238E27FC236}">
                <a16:creationId xmlns:a16="http://schemas.microsoft.com/office/drawing/2014/main" id="{5A802D81-54B8-499A-AF55-D8EA61DC3650}"/>
              </a:ext>
            </a:extLst>
          </p:cNvPr>
          <p:cNvSpPr>
            <a:spLocks noChangeArrowheads="1"/>
          </p:cNvSpPr>
          <p:nvPr userDrawn="1"/>
        </p:nvSpPr>
        <p:spPr bwMode="gray">
          <a:xfrm flipV="1">
            <a:off x="-11694" y="-219075"/>
            <a:ext cx="12192000" cy="4616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2400"/>
          </a:p>
        </p:txBody>
      </p:sp>
    </p:spTree>
    <p:extLst>
      <p:ext uri="{BB962C8B-B14F-4D97-AF65-F5344CB8AC3E}">
        <p14:creationId xmlns:p14="http://schemas.microsoft.com/office/powerpoint/2010/main" val="4456480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2498" y="844628"/>
            <a:ext cx="10972800" cy="18272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/>
            </a:lvl1pPr>
            <a:lvl2pPr marL="457189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/>
            </a:lvl2pPr>
            <a:lvl3pPr marL="914377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/>
            </a:lvl3pPr>
            <a:lvl4pPr marL="1371566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/>
            </a:lvl4pPr>
            <a:lvl5pPr marL="1828754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EB6EC0-D1CE-BE45-9D34-81289D7DAA0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2568610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  <p15:guide id="5" pos="1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10D19DC-D8EE-6C4A-AEA0-F20DAAA798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206799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  <p15:guide id="5" pos="1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637284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E40743-0A62-444D-9C5D-D2CDD1C5EF44}"/>
              </a:ext>
            </a:extLst>
          </p:cNvPr>
          <p:cNvSpPr/>
          <p:nvPr userDrawn="1"/>
        </p:nvSpPr>
        <p:spPr bwMode="auto">
          <a:xfrm>
            <a:off x="0" y="4727432"/>
            <a:ext cx="12192000" cy="461665"/>
          </a:xfrm>
          <a:prstGeom prst="rect">
            <a:avLst/>
          </a:prstGeom>
          <a:solidFill>
            <a:schemeClr val="accent5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endParaRPr lang="en-US" sz="2400" dirty="0">
              <a:solidFill>
                <a:srgbClr val="000000"/>
              </a:solidFill>
              <a:latin typeface="Arial Narrow" charset="0"/>
              <a:ea typeface="ＭＳ Ｐゴシック" charset="0"/>
            </a:endParaRP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594732" y="4659470"/>
            <a:ext cx="10363200" cy="571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B46DE2B-2749-634A-82A0-0EEB768F418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42763876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2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70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60A1FCC-ABB7-C543-979A-13E7D55F7A3D}"/>
              </a:ext>
            </a:extLst>
          </p:cNvPr>
          <p:cNvSpPr txBox="1">
            <a:spLocks/>
          </p:cNvSpPr>
          <p:nvPr userDrawn="1"/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6BA6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9pPr>
          </a:lstStyle>
          <a:p>
            <a:r>
              <a:rPr lang="en-US" sz="3200" kern="0" dirty="0"/>
              <a:t>Click to edit Master 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3632A7F-14C3-AD4B-BF80-8D4F2B5B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91B94D2A-18AD-3341-8A9D-D19BD68D649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36609204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499" y="665317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499" y="1305080"/>
            <a:ext cx="5386917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66266" y="665317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66266" y="1305080"/>
            <a:ext cx="5389033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EDA1226-8941-8345-82C8-56D53F484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B74EEC8-2B1D-3242-AE73-54A23416CE6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6975126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15588F4-9699-8945-8268-D266DE641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DC435C8-F8C7-C34D-B87F-730A746DB60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568503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49"/>
            <a:ext cx="4011084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8" cy="58531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3200"/>
            </a:lvl1pPr>
            <a:lvl2pPr>
              <a:buClr>
                <a:schemeClr val="accent5"/>
              </a:buClr>
              <a:defRPr sz="28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000"/>
            </a:lvl4pPr>
            <a:lvl5pPr>
              <a:buClr>
                <a:schemeClr val="accent5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D3C83-B407-E248-B438-B82B2363BB0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4038837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5719"/>
            <a:ext cx="11188700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1"/>
            <a:ext cx="111887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358076-547E-436E-B34D-E2A3977D26E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12695382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- WD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010D19DC-D8EE-6C4A-AEA0-F20DAAA798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87029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10D19DC-D8EE-6C4A-AEA0-F20DAAA798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2861269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  <p15:guide id="5" pos="1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E40743-0A62-444D-9C5D-D2CDD1C5EF44}"/>
              </a:ext>
            </a:extLst>
          </p:cNvPr>
          <p:cNvSpPr/>
          <p:nvPr userDrawn="1"/>
        </p:nvSpPr>
        <p:spPr bwMode="auto">
          <a:xfrm>
            <a:off x="0" y="4727432"/>
            <a:ext cx="12192000" cy="461665"/>
          </a:xfrm>
          <a:prstGeom prst="rect">
            <a:avLst/>
          </a:prstGeom>
          <a:solidFill>
            <a:schemeClr val="accent5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endParaRPr lang="en-US" sz="2400" dirty="0">
              <a:solidFill>
                <a:srgbClr val="000000"/>
              </a:solidFill>
              <a:latin typeface="Arial Narrow" charset="0"/>
              <a:ea typeface="ＭＳ Ｐゴシック" charset="0"/>
            </a:endParaRP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594732" y="4659470"/>
            <a:ext cx="10363200" cy="571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B46DE2B-2749-634A-82A0-0EEB768F418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9188528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2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70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60A1FCC-ABB7-C543-979A-13E7D55F7A3D}"/>
              </a:ext>
            </a:extLst>
          </p:cNvPr>
          <p:cNvSpPr txBox="1">
            <a:spLocks/>
          </p:cNvSpPr>
          <p:nvPr userDrawn="1"/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6BA6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9pPr>
          </a:lstStyle>
          <a:p>
            <a:r>
              <a:rPr lang="en-US" sz="3200" kern="0" dirty="0"/>
              <a:t>Click to edit Master 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3632A7F-14C3-AD4B-BF80-8D4F2B5B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91B94D2A-18AD-3341-8A9D-D19BD68D649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029461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5900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000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618914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499" y="665317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499" y="1305080"/>
            <a:ext cx="5386917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66266" y="665317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66266" y="1305080"/>
            <a:ext cx="5389033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EDA1226-8941-8345-82C8-56D53F484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B74EEC8-2B1D-3242-AE73-54A23416CE6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8610062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15588F4-9699-8945-8268-D266DE641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DC435C8-F8C7-C34D-B87F-730A746DB60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995697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5719"/>
            <a:ext cx="11188700" cy="36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1"/>
            <a:ext cx="111887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358076-547E-436E-B34D-E2A3977D26E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425694879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859" y="36513"/>
            <a:ext cx="11986382" cy="71507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Title (Calibri 28 Bold)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358076-547E-436E-B34D-E2A3977D26E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6967791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10D19DC-D8EE-6C4A-AEA0-F20DAAA798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43805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  <p15:guide id="5" pos="19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E40743-0A62-444D-9C5D-D2CDD1C5EF44}"/>
              </a:ext>
            </a:extLst>
          </p:cNvPr>
          <p:cNvSpPr/>
          <p:nvPr userDrawn="1"/>
        </p:nvSpPr>
        <p:spPr bwMode="auto">
          <a:xfrm>
            <a:off x="0" y="4727432"/>
            <a:ext cx="12192000" cy="461665"/>
          </a:xfrm>
          <a:prstGeom prst="rect">
            <a:avLst/>
          </a:prstGeom>
          <a:solidFill>
            <a:schemeClr val="accent5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endParaRPr lang="en-US" sz="2400" dirty="0">
              <a:solidFill>
                <a:srgbClr val="000000"/>
              </a:solidFill>
              <a:latin typeface="Arial Narrow"/>
              <a:ea typeface="ＭＳ Ｐゴシック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3D10D5-6BB2-4C5F-8FDF-9762E20B41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" y="-72081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2400" dirty="0">
              <a:solidFill>
                <a:srgbClr val="000000"/>
              </a:solidFill>
            </a:endParaRP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594732" y="4659470"/>
            <a:ext cx="10363200" cy="571951"/>
          </a:xfrm>
          <a:prstGeom prst="rect">
            <a:avLst/>
          </a:prstGeom>
          <a:noFill/>
          <a:ln>
            <a:noFill/>
          </a:ln>
          <a:effectLst/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B46DE2B-2749-634A-82A0-0EEB768F418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41872387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2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70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60A1FCC-ABB7-C543-979A-13E7D55F7A3D}"/>
              </a:ext>
            </a:extLst>
          </p:cNvPr>
          <p:cNvSpPr txBox="1">
            <a:spLocks/>
          </p:cNvSpPr>
          <p:nvPr userDrawn="1"/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6BA6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9pPr>
          </a:lstStyle>
          <a:p>
            <a:r>
              <a:rPr lang="en-US" sz="3200" kern="0" dirty="0"/>
              <a:t>Click to edit Master 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3632A7F-14C3-AD4B-BF80-8D4F2B5B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91B94D2A-18AD-3341-8A9D-D19BD68D649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2310907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499" y="665317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499" y="1305080"/>
            <a:ext cx="5386917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66266" y="665317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66266" y="1305080"/>
            <a:ext cx="5389033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EDA1226-8941-8345-82C8-56D53F484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B74EEC8-2B1D-3242-AE73-54A23416CE6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9552802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15588F4-9699-8945-8268-D266DE641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DC435C8-F8C7-C34D-B87F-730A746DB60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2653742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859" y="36513"/>
            <a:ext cx="11986382" cy="71507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Title (Calibri 28 Bold)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06342-DFEF-452F-A2A2-86B729B1E5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8275" y="6676438"/>
            <a:ext cx="5962953" cy="168175"/>
          </a:xfrm>
          <a:prstGeom prst="rect">
            <a:avLst/>
          </a:prstGeom>
        </p:spPr>
        <p:txBody>
          <a:bodyPr vert="horz" lIns="86493" tIns="43247" rIns="86493" bIns="43247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D94C1-1389-4742-97E6-4F81514E7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57" y="6646861"/>
            <a:ext cx="415271" cy="225838"/>
          </a:xfrm>
          <a:prstGeom prst="rect">
            <a:avLst/>
          </a:prstGeom>
        </p:spPr>
        <p:txBody>
          <a:bodyPr vert="horz" lIns="86493" tIns="43247" rIns="86493" bIns="43247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A0C21F26-985F-9D40-A811-D6DE90C3D8D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2885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0800000" flipV="1">
            <a:off x="2569" y="5105400"/>
            <a:ext cx="12192000" cy="1752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43">
              <a:lnSpc>
                <a:spcPct val="80000"/>
              </a:lnSpc>
            </a:pPr>
            <a:endParaRPr lang="en-US" dirty="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538514" y="1495703"/>
            <a:ext cx="910620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557" y="5910161"/>
            <a:ext cx="1798407" cy="21983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45169" y="1555751"/>
            <a:ext cx="9099550" cy="8382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4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sub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549401" y="685801"/>
            <a:ext cx="9144000" cy="742951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defRPr sz="24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10569625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CEBACBF-B981-4B3A-BC47-F86A24A7D4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8275" y="6676438"/>
            <a:ext cx="5962953" cy="168175"/>
          </a:xfrm>
          <a:prstGeom prst="rect">
            <a:avLst/>
          </a:prstGeom>
        </p:spPr>
        <p:txBody>
          <a:bodyPr vert="horz" lIns="86493" tIns="43247" rIns="86493" bIns="43247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D351DB9-CE24-4997-8D77-56C6CB55A2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57" y="6646861"/>
            <a:ext cx="415271" cy="225838"/>
          </a:xfrm>
          <a:prstGeom prst="rect">
            <a:avLst/>
          </a:prstGeom>
        </p:spPr>
        <p:txBody>
          <a:bodyPr vert="horz" lIns="86493" tIns="43247" rIns="86493" bIns="43247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A0C21F26-985F-9D40-A811-D6DE90C3D8D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C2E9B5-83B6-417E-AF84-E40C94DC8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859" y="36513"/>
            <a:ext cx="11986382" cy="7150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54917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06373" y="202589"/>
            <a:ext cx="3806855" cy="194651"/>
          </a:xfrm>
          <a:prstGeom prst="rect">
            <a:avLst/>
          </a:prstGeom>
        </p:spPr>
        <p:txBody>
          <a:bodyPr wrap="none">
            <a:noAutofit/>
          </a:bodyPr>
          <a:lstStyle>
            <a:lvl1pPr marL="0" indent="0" algn="l">
              <a:buNone/>
              <a:defRPr sz="825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ONTENT DESCRIPTION (optional)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984468" y="202589"/>
            <a:ext cx="3806855" cy="194651"/>
          </a:xfrm>
          <a:prstGeom prst="rect">
            <a:avLst/>
          </a:prstGeom>
        </p:spPr>
        <p:txBody>
          <a:bodyPr wrap="none">
            <a:noAutofit/>
          </a:bodyPr>
          <a:lstStyle>
            <a:lvl1pPr marL="0" indent="0" algn="r">
              <a:buNone/>
              <a:defRPr sz="825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DEPARTMENT NAM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6982" y="705681"/>
            <a:ext cx="8838050" cy="100488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Basic 1 Column Slide To Start. Max size Arial Bold 52pt. Title can go to Two lin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876982" y="1761997"/>
            <a:ext cx="8838050" cy="4152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27951" y="6538723"/>
            <a:ext cx="8119212" cy="207877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75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8B385D-DF67-E241-B0BF-76B80A8E743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417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13">
          <p15:clr>
            <a:srgbClr val="FBAE40"/>
          </p15:clr>
        </p15:guide>
        <p15:guide id="2" pos="1105">
          <p15:clr>
            <a:srgbClr val="FBAE40"/>
          </p15:clr>
        </p15:guide>
        <p15:guide id="3" pos="2017">
          <p15:clr>
            <a:srgbClr val="FBAE40"/>
          </p15:clr>
        </p15:guide>
        <p15:guide id="4" pos="2209">
          <p15:clr>
            <a:srgbClr val="FBAE40"/>
          </p15:clr>
        </p15:guide>
        <p15:guide id="5" pos="3121">
          <p15:clr>
            <a:srgbClr val="FBAE40"/>
          </p15:clr>
        </p15:guide>
        <p15:guide id="6" pos="3337">
          <p15:clr>
            <a:srgbClr val="FBAE40"/>
          </p15:clr>
        </p15:guide>
        <p15:guide id="7" pos="4249">
          <p15:clr>
            <a:srgbClr val="FBAE40"/>
          </p15:clr>
        </p15:guide>
        <p15:guide id="8" pos="4441">
          <p15:clr>
            <a:srgbClr val="FBAE40"/>
          </p15:clr>
        </p15:guide>
        <p15:guide id="9" pos="5377">
          <p15:clr>
            <a:srgbClr val="FBAE40"/>
          </p15:clr>
        </p15:guide>
        <p15:guide id="10" pos="5545">
          <p15:clr>
            <a:srgbClr val="FBAE40"/>
          </p15:clr>
        </p15:guide>
        <p15:guide id="11" pos="6457">
          <p15:clr>
            <a:srgbClr val="FBAE40"/>
          </p15:clr>
        </p15:guide>
        <p15:guide id="12" pos="6649">
          <p15:clr>
            <a:srgbClr val="FBAE40"/>
          </p15:clr>
        </p15:guide>
        <p15:guide id="13" pos="7561">
          <p15:clr>
            <a:srgbClr val="FBAE40"/>
          </p15:clr>
        </p15:guide>
        <p15:guide id="14" pos="7777">
          <p15:clr>
            <a:srgbClr val="FBAE40"/>
          </p15:clr>
        </p15:guide>
        <p15:guide id="15" pos="8665">
          <p15:clr>
            <a:srgbClr val="FBAE40"/>
          </p15:clr>
        </p15:guide>
        <p15:guide id="16" pos="8905">
          <p15:clr>
            <a:srgbClr val="FBAE40"/>
          </p15:clr>
        </p15:guide>
        <p15:guide id="17" pos="9793">
          <p15:clr>
            <a:srgbClr val="FBAE40"/>
          </p15:clr>
        </p15:guide>
        <p15:guide id="18" pos="10009">
          <p15:clr>
            <a:srgbClr val="FBAE40"/>
          </p15:clr>
        </p15:guide>
        <p15:guide id="19" pos="10897">
          <p15:clr>
            <a:srgbClr val="FBAE40"/>
          </p15:clr>
        </p15:guide>
        <p15:guide id="20" pos="11137">
          <p15:clr>
            <a:srgbClr val="FBAE40"/>
          </p15:clr>
        </p15:guide>
        <p15:guide id="21" pos="13129">
          <p15:clr>
            <a:srgbClr val="FBAE40"/>
          </p15:clr>
        </p15:guide>
        <p15:guide id="22" pos="13345">
          <p15:clr>
            <a:srgbClr val="FBAE40"/>
          </p15:clr>
        </p15:guide>
        <p15:guide id="23" pos="14233">
          <p15:clr>
            <a:srgbClr val="FBAE40"/>
          </p15:clr>
        </p15:guide>
        <p15:guide id="24" pos="14449">
          <p15:clr>
            <a:srgbClr val="FBAE40"/>
          </p15:clr>
        </p15:guide>
        <p15:guide id="25" orient="horz" pos="432">
          <p15:clr>
            <a:srgbClr val="FBAE40"/>
          </p15:clr>
        </p15:guide>
        <p15:guide id="26" pos="12025">
          <p15:clr>
            <a:srgbClr val="FBAE40"/>
          </p15:clr>
        </p15:guide>
        <p15:guide id="27" pos="1224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10D19DC-D8EE-6C4A-AEA0-F20DAAA798E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63652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2880">
          <p15:clr>
            <a:srgbClr val="FBAE40"/>
          </p15:clr>
        </p15:guide>
        <p15:guide id="5" pos="19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E40743-0A62-444D-9C5D-D2CDD1C5EF44}"/>
              </a:ext>
            </a:extLst>
          </p:cNvPr>
          <p:cNvSpPr/>
          <p:nvPr userDrawn="1"/>
        </p:nvSpPr>
        <p:spPr bwMode="auto">
          <a:xfrm>
            <a:off x="0" y="4727432"/>
            <a:ext cx="12192000" cy="461665"/>
          </a:xfrm>
          <a:prstGeom prst="rect">
            <a:avLst/>
          </a:prstGeom>
          <a:solidFill>
            <a:schemeClr val="accent5">
              <a:alpha val="7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endParaRPr lang="en-US" sz="2400" dirty="0">
              <a:solidFill>
                <a:srgbClr val="000000"/>
              </a:solidFill>
              <a:latin typeface="Arial Narrow"/>
              <a:ea typeface="ＭＳ Ｐゴシック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3D10D5-6BB2-4C5F-8FDF-9762E20B41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" y="-72081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2400" dirty="0">
              <a:solidFill>
                <a:srgbClr val="000000"/>
              </a:solidFill>
            </a:endParaRP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594732" y="4659470"/>
            <a:ext cx="10363200" cy="571951"/>
          </a:xfrm>
          <a:prstGeom prst="rect">
            <a:avLst/>
          </a:prstGeom>
          <a:noFill/>
          <a:ln>
            <a:noFill/>
          </a:ln>
          <a:effectLst/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B46DE2B-2749-634A-82A0-0EEB768F418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37179748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2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70500" y="833476"/>
            <a:ext cx="5384800" cy="1827213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buClr>
                <a:schemeClr val="accent5"/>
              </a:buClr>
              <a:defRPr sz="2400"/>
            </a:lvl3pPr>
            <a:lvl4pPr>
              <a:buClr>
                <a:schemeClr val="accent5"/>
              </a:buClr>
              <a:defRPr sz="2400"/>
            </a:lvl4pPr>
            <a:lvl5pPr>
              <a:buClr>
                <a:schemeClr val="accent5"/>
              </a:buCl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60A1FCC-ABB7-C543-979A-13E7D55F7A3D}"/>
              </a:ext>
            </a:extLst>
          </p:cNvPr>
          <p:cNvSpPr txBox="1">
            <a:spLocks/>
          </p:cNvSpPr>
          <p:nvPr userDrawn="1"/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6BA6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BA6"/>
                </a:solidFill>
                <a:latin typeface="Arial Narrow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39531D"/>
                </a:solidFill>
                <a:latin typeface="Arial Narrow" charset="0"/>
                <a:ea typeface="ＭＳ Ｐゴシック" charset="0"/>
                <a:cs typeface="Arial" charset="0"/>
              </a:defRPr>
            </a:lvl9pPr>
          </a:lstStyle>
          <a:p>
            <a:r>
              <a:rPr lang="en-US" sz="3200" kern="0" dirty="0"/>
              <a:t>Click to edit Master 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3632A7F-14C3-AD4B-BF80-8D4F2B5B2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91B94D2A-18AD-3341-8A9D-D19BD68D649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8781309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499" y="665317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499" y="1305080"/>
            <a:ext cx="5386917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66266" y="665317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66266" y="1305080"/>
            <a:ext cx="5389033" cy="3951288"/>
          </a:xfrm>
          <a:prstGeom prst="rect">
            <a:avLst/>
          </a:prstGeo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buClr>
                <a:schemeClr val="accent5"/>
              </a:buCl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EDA1226-8941-8345-82C8-56D53F484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0B74EEC8-2B1D-3242-AE73-54A23416CE6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36284481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15588F4-9699-8945-8268-D266DE641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365" y="246181"/>
            <a:ext cx="10972800" cy="57150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DC435C8-F8C7-C34D-B87F-730A746DB60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</p:spTree>
    <p:extLst>
      <p:ext uri="{BB962C8B-B14F-4D97-AF65-F5344CB8AC3E}">
        <p14:creationId xmlns:p14="http://schemas.microsoft.com/office/powerpoint/2010/main" val="1299524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6600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13">
          <p15:clr>
            <a:srgbClr val="FBAE40"/>
          </p15:clr>
        </p15:guide>
        <p15:guide id="2" pos="1105">
          <p15:clr>
            <a:srgbClr val="FBAE40"/>
          </p15:clr>
        </p15:guide>
        <p15:guide id="3" pos="2017">
          <p15:clr>
            <a:srgbClr val="FBAE40"/>
          </p15:clr>
        </p15:guide>
        <p15:guide id="4" pos="2209">
          <p15:clr>
            <a:srgbClr val="FBAE40"/>
          </p15:clr>
        </p15:guide>
        <p15:guide id="5" pos="3121">
          <p15:clr>
            <a:srgbClr val="FBAE40"/>
          </p15:clr>
        </p15:guide>
        <p15:guide id="6" pos="3337">
          <p15:clr>
            <a:srgbClr val="FBAE40"/>
          </p15:clr>
        </p15:guide>
        <p15:guide id="7" pos="4249">
          <p15:clr>
            <a:srgbClr val="FBAE40"/>
          </p15:clr>
        </p15:guide>
        <p15:guide id="8" pos="4441">
          <p15:clr>
            <a:srgbClr val="FBAE40"/>
          </p15:clr>
        </p15:guide>
        <p15:guide id="9" pos="5377">
          <p15:clr>
            <a:srgbClr val="FBAE40"/>
          </p15:clr>
        </p15:guide>
        <p15:guide id="10" pos="5545">
          <p15:clr>
            <a:srgbClr val="FBAE40"/>
          </p15:clr>
        </p15:guide>
        <p15:guide id="11" pos="6457">
          <p15:clr>
            <a:srgbClr val="FBAE40"/>
          </p15:clr>
        </p15:guide>
        <p15:guide id="12" pos="6649">
          <p15:clr>
            <a:srgbClr val="FBAE40"/>
          </p15:clr>
        </p15:guide>
        <p15:guide id="13" pos="7561">
          <p15:clr>
            <a:srgbClr val="FBAE40"/>
          </p15:clr>
        </p15:guide>
        <p15:guide id="14" pos="7777">
          <p15:clr>
            <a:srgbClr val="FBAE40"/>
          </p15:clr>
        </p15:guide>
        <p15:guide id="15" pos="8665">
          <p15:clr>
            <a:srgbClr val="FBAE40"/>
          </p15:clr>
        </p15:guide>
        <p15:guide id="16" pos="8905">
          <p15:clr>
            <a:srgbClr val="FBAE40"/>
          </p15:clr>
        </p15:guide>
        <p15:guide id="17" pos="9793">
          <p15:clr>
            <a:srgbClr val="FBAE40"/>
          </p15:clr>
        </p15:guide>
        <p15:guide id="18" pos="10009">
          <p15:clr>
            <a:srgbClr val="FBAE40"/>
          </p15:clr>
        </p15:guide>
        <p15:guide id="19" pos="10897">
          <p15:clr>
            <a:srgbClr val="FBAE40"/>
          </p15:clr>
        </p15:guide>
        <p15:guide id="20" pos="11137">
          <p15:clr>
            <a:srgbClr val="FBAE40"/>
          </p15:clr>
        </p15:guide>
        <p15:guide id="21" pos="13129">
          <p15:clr>
            <a:srgbClr val="FBAE40"/>
          </p15:clr>
        </p15:guide>
        <p15:guide id="22" pos="13345">
          <p15:clr>
            <a:srgbClr val="FBAE40"/>
          </p15:clr>
        </p15:guide>
        <p15:guide id="23" pos="14233">
          <p15:clr>
            <a:srgbClr val="FBAE40"/>
          </p15:clr>
        </p15:guide>
        <p15:guide id="24" pos="14449">
          <p15:clr>
            <a:srgbClr val="FBAE40"/>
          </p15:clr>
        </p15:guide>
        <p15:guide id="25" orient="horz" pos="432">
          <p15:clr>
            <a:srgbClr val="FBAE40"/>
          </p15:clr>
        </p15:guide>
        <p15:guide id="26" pos="12025">
          <p15:clr>
            <a:srgbClr val="FBAE40"/>
          </p15:clr>
        </p15:guide>
        <p15:guide id="27" pos="1224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2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1500" b="0" kern="1200" dirty="0">
                <a:solidFill>
                  <a:srgbClr val="709FB0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5902" y="753534"/>
            <a:ext cx="11772900" cy="513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05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132050" indent="-132050">
              <a:buClrTx/>
              <a:buFont typeface="Wingdings" charset="2"/>
              <a:buChar char="§"/>
              <a:defRPr lang="en-US" sz="105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257168" indent="-125013">
              <a:buClrTx/>
              <a:buFont typeface="Lucida Grande"/>
              <a:buChar char="-"/>
              <a:defRPr sz="9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385753" indent="-128585">
              <a:buClrTx/>
              <a:buFont typeface="Arial"/>
              <a:buChar char="•"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348603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0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000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5900" y="753534"/>
            <a:ext cx="11772900" cy="10567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176066" indent="-176066">
              <a:buClrTx/>
              <a:defRPr lang="en-US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396550" indent="-220481">
              <a:buClrTx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572615" indent="-176066">
              <a:buClrTx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3200" y="6502400"/>
            <a:ext cx="1828800" cy="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85399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0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000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5900" y="753534"/>
            <a:ext cx="11772900" cy="8173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228594" indent="-228594">
              <a:buClrTx/>
              <a:defRPr lang="en-US" sz="14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Calibri"/>
              </a:defRPr>
            </a:lvl2pPr>
            <a:lvl3pPr marL="457189" indent="-228594">
              <a:buClrTx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684196" indent="-227008">
              <a:buClrTx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61036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5900" y="147484"/>
            <a:ext cx="11772901" cy="476864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2000" b="0" kern="1200" dirty="0">
                <a:solidFill>
                  <a:schemeClr val="tx2"/>
                </a:solidFill>
                <a:latin typeface="+mn-lt"/>
                <a:ea typeface="+mj-ea"/>
                <a:cs typeface="Calibri Light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3200" y="685800"/>
            <a:ext cx="11785600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5839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007273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4"/>
            <a:ext cx="12192000" cy="423333"/>
          </a:xfrm>
          <a:prstGeom prst="rect">
            <a:avLst/>
          </a:prstGeom>
        </p:spPr>
      </p:pic>
      <p:sp>
        <p:nvSpPr>
          <p:cNvPr id="14" name="Rectangle 7"/>
          <p:cNvSpPr>
            <a:spLocks noChangeArrowheads="1"/>
          </p:cNvSpPr>
          <p:nvPr userDrawn="1"/>
        </p:nvSpPr>
        <p:spPr bwMode="gray">
          <a:xfrm>
            <a:off x="11631466" y="6540500"/>
            <a:ext cx="372843" cy="141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1086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DD830A5-CD33-451C-AB3E-AFF8A609B8FB}" type="slidenum">
              <a:rPr lang="en-US" sz="917" smtClean="0">
                <a:solidFill>
                  <a:schemeClr val="accent2"/>
                </a:solidFill>
                <a:latin typeface="Century Gothic" panose="020B0502020202020204" pitchFamily="34" charset="0"/>
                <a:cs typeface="Arial" pitchFamily="34" charset="0"/>
              </a:rPr>
              <a:pPr algn="r" defTabSz="108619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17" dirty="0">
              <a:solidFill>
                <a:schemeClr val="accent2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22" name="Picture 21" descr="Polygon shape for PPT Accent 4 Top Slice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8808720" cy="426720"/>
          </a:xfrm>
          <a:prstGeom prst="rect">
            <a:avLst/>
          </a:prstGeom>
        </p:spPr>
      </p:pic>
      <p:sp>
        <p:nvSpPr>
          <p:cNvPr id="7" name="Rectangle 26"/>
          <p:cNvSpPr>
            <a:spLocks noChangeArrowheads="1"/>
          </p:cNvSpPr>
          <p:nvPr userDrawn="1"/>
        </p:nvSpPr>
        <p:spPr bwMode="auto">
          <a:xfrm>
            <a:off x="5505293" y="6591860"/>
            <a:ext cx="1181414" cy="897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D923C"/>
              </a:buClr>
              <a:defRPr/>
            </a:pPr>
            <a:r>
              <a:rPr lang="en-US" sz="583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Confidential, for internal use onl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67" y="139264"/>
            <a:ext cx="1965815" cy="220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965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</p:sldLayoutIdLst>
  <p:txStyles>
    <p:titleStyle>
      <a:lvl1pPr algn="ctr" defTabSz="380985" rtl="0" eaLnBrk="1" latinLnBrk="0" hangingPunct="1"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9" indent="-285739" algn="l" defTabSz="3809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defTabSz="380985" rtl="0" eaLnBrk="1" latinLnBrk="0" hangingPunct="1">
        <a:spcBef>
          <a:spcPct val="20000"/>
        </a:spcBef>
        <a:buFont typeface="Arial"/>
        <a:buChar char="–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38098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380985" rtl="0" eaLnBrk="1" latinLnBrk="0" hangingPunct="1">
        <a:spcBef>
          <a:spcPct val="20000"/>
        </a:spcBef>
        <a:buFont typeface="Arial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380985" rtl="0" eaLnBrk="1" latinLnBrk="0" hangingPunct="1">
        <a:spcBef>
          <a:spcPct val="20000"/>
        </a:spcBef>
        <a:buFont typeface="Arial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2569" y="6434668"/>
            <a:ext cx="12192000" cy="423329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>
              <a:lnSpc>
                <a:spcPct val="80000"/>
              </a:lnSpc>
              <a:defRPr/>
            </a:pPr>
            <a:endParaRPr lang="en-US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gray">
          <a:xfrm>
            <a:off x="11835962" y="6580281"/>
            <a:ext cx="15068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2060" eaLnBrk="0" hangingPunct="0">
              <a:defRPr/>
            </a:pPr>
            <a:fld id="{62ACBC02-EE89-460C-80D0-BE57D897FA38}" type="slidenum">
              <a:rPr lang="en-US" sz="1000">
                <a:solidFill>
                  <a:prstClr val="white"/>
                </a:solidFill>
                <a:cs typeface="Arial" pitchFamily="34" charset="0"/>
              </a:rPr>
              <a:pPr algn="r" defTabSz="912060" eaLnBrk="0" hangingPunct="0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168167" y="6470365"/>
            <a:ext cx="3858233" cy="3139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 defTabSz="914377">
              <a:lnSpc>
                <a:spcPct val="120000"/>
              </a:lnSpc>
              <a:defRPr/>
            </a:pPr>
            <a:r>
              <a:rPr lang="en-US" sz="600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Confidential, not for distribution or duplication   </a:t>
            </a:r>
          </a:p>
          <a:p>
            <a:pPr algn="ctr" defTabSz="914377">
              <a:lnSpc>
                <a:spcPct val="120000"/>
              </a:lnSpc>
              <a:defRPr/>
            </a:pPr>
            <a:r>
              <a:rPr lang="en-US" sz="600" kern="0" dirty="0">
                <a:solidFill>
                  <a:sysClr val="window" lastClr="FFFFFF"/>
                </a:solidFill>
                <a:latin typeface="Calibri Light"/>
                <a:cs typeface="Calibri Light"/>
              </a:rPr>
              <a:t> © 2017 Kaiser Foundation Health Plan, Inc. </a:t>
            </a:r>
          </a:p>
        </p:txBody>
      </p:sp>
    </p:spTree>
    <p:extLst>
      <p:ext uri="{BB962C8B-B14F-4D97-AF65-F5344CB8AC3E}">
        <p14:creationId xmlns:p14="http://schemas.microsoft.com/office/powerpoint/2010/main" val="1020322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ysClr val="windowText" lastClr="000000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6821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36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04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728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618" indent="-342618" algn="l" rtl="0" eaLnBrk="1" fontAlgn="base" hangingPunct="1">
        <a:spcBef>
          <a:spcPct val="0"/>
        </a:spcBef>
        <a:spcAft>
          <a:spcPts val="600"/>
        </a:spcAft>
        <a:buClr>
          <a:srgbClr val="006699"/>
        </a:buClr>
        <a:buFont typeface="Wingdings" pitchFamily="2" charset="2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174621" indent="-174621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6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403215" indent="-174621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627047" indent="-166684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Char char="•"/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2055699" indent="-2284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12521" indent="-2284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69344" indent="-2284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26165" indent="-2284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882987" indent="-2284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21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45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63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88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111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34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55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77" algn="l" defTabSz="9136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6F41F19-CE86-204F-BADA-4ECB7D905347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8876372" y="6415068"/>
            <a:ext cx="2653115" cy="223160"/>
          </a:xfrm>
          <a:prstGeom prst="rect">
            <a:avLst/>
          </a:prstGeom>
        </p:spPr>
      </p:pic>
      <p:sp>
        <p:nvSpPr>
          <p:cNvPr id="40" name="Rectangle 5">
            <a:extLst>
              <a:ext uri="{FF2B5EF4-FFF2-40B4-BE49-F238E27FC236}">
                <a16:creationId xmlns:a16="http://schemas.microsoft.com/office/drawing/2014/main" id="{ACB8C7BC-DA01-4B81-9864-62088717B36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509939" y="6477000"/>
            <a:ext cx="115146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 b="0" i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::  </a:t>
            </a:r>
            <a:fld id="{53E68406-C1E0-4E33-86B1-64ADBA32BFC5}" type="slidenum">
              <a:rPr lang="en-US" alt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FFFFFF">
                    <a:lumMod val="50000"/>
                  </a:srgbClr>
                </a:solidFill>
              </a:rPr>
              <a:t>  ::</a:t>
            </a:r>
          </a:p>
        </p:txBody>
      </p:sp>
      <p:sp>
        <p:nvSpPr>
          <p:cNvPr id="4" name="Rectangle 41">
            <a:extLst>
              <a:ext uri="{FF2B5EF4-FFF2-40B4-BE49-F238E27FC236}">
                <a16:creationId xmlns:a16="http://schemas.microsoft.com/office/drawing/2014/main" id="{5A802D81-54B8-499A-AF55-D8EA61DC3650}"/>
              </a:ext>
            </a:extLst>
          </p:cNvPr>
          <p:cNvSpPr>
            <a:spLocks noChangeArrowheads="1"/>
          </p:cNvSpPr>
          <p:nvPr userDrawn="1"/>
        </p:nvSpPr>
        <p:spPr bwMode="gray">
          <a:xfrm flipV="1">
            <a:off x="0" y="-157679"/>
            <a:ext cx="12192000" cy="4616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2400"/>
          </a:p>
        </p:txBody>
      </p:sp>
    </p:spTree>
    <p:extLst>
      <p:ext uri="{BB962C8B-B14F-4D97-AF65-F5344CB8AC3E}">
        <p14:creationId xmlns:p14="http://schemas.microsoft.com/office/powerpoint/2010/main" val="145854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006BA6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006BA6"/>
          </a:solidFill>
          <a:latin typeface="Arial Narrow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006BA6"/>
          </a:solidFill>
          <a:latin typeface="Arial Narrow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006BA6"/>
          </a:solidFill>
          <a:latin typeface="Arial Narrow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006BA6"/>
          </a:solidFill>
          <a:latin typeface="Arial Narrow" charset="0"/>
          <a:ea typeface="MS PGothic" panose="020B0600070205080204" pitchFamily="34" charset="-128"/>
          <a:cs typeface="Arial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39531D"/>
          </a:solidFill>
          <a:latin typeface="Arial Narrow" charset="0"/>
          <a:ea typeface="ＭＳ Ｐゴシック" charset="0"/>
          <a:cs typeface="Arial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39531D"/>
          </a:solidFill>
          <a:latin typeface="Arial Narrow" charset="0"/>
          <a:ea typeface="ＭＳ Ｐゴシック" charset="0"/>
          <a:cs typeface="Arial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39531D"/>
          </a:solidFill>
          <a:latin typeface="Arial Narrow" charset="0"/>
          <a:ea typeface="ＭＳ Ｐゴシック" charset="0"/>
          <a:cs typeface="Arial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rgbClr val="39531D"/>
          </a:solidFill>
          <a:latin typeface="Arial Narrow" charset="0"/>
          <a:ea typeface="ＭＳ Ｐゴシック" charset="0"/>
          <a:cs typeface="Arial" charset="0"/>
        </a:defRPr>
      </a:lvl9pPr>
    </p:titleStyle>
    <p:bodyStyle>
      <a:lvl1pPr marL="285744" indent="-285744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32" indent="-285744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2pPr>
      <a:lvl3pPr marL="1142971" indent="-228594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Arial" charset="0"/>
          <a:cs typeface="+mn-cs"/>
        </a:defRPr>
      </a:lvl3pPr>
      <a:lvl4pPr marL="1600160" indent="-228594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2057349" indent="-228594" algn="l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2514537" indent="-228594" algn="l" rtl="0" fontAlgn="base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6pPr>
      <a:lvl7pPr marL="2971726" indent="-228594" algn="l" rtl="0" fontAlgn="base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7pPr>
      <a:lvl8pPr marL="3428914" indent="-228594" algn="l" rtl="0" fontAlgn="base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8pPr>
      <a:lvl9pPr marL="3886103" indent="-228594" algn="l" rtl="0" fontAlgn="base">
        <a:lnSpc>
          <a:spcPct val="95000"/>
        </a:lnSpc>
        <a:spcBef>
          <a:spcPct val="35000"/>
        </a:spcBef>
        <a:spcAft>
          <a:spcPct val="0"/>
        </a:spcAft>
        <a:buClr>
          <a:schemeClr val="hlink"/>
        </a:buClr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28F98576-A185-4FE4-B770-F5A6542730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100379"/>
              </p:ext>
            </p:extLst>
          </p:nvPr>
        </p:nvGraphicFramePr>
        <p:xfrm>
          <a:off x="284477" y="702526"/>
          <a:ext cx="11704324" cy="549513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926081">
                  <a:extLst>
                    <a:ext uri="{9D8B030D-6E8A-4147-A177-3AD203B41FA5}">
                      <a16:colId xmlns:a16="http://schemas.microsoft.com/office/drawing/2014/main" val="1011285350"/>
                    </a:ext>
                  </a:extLst>
                </a:gridCol>
                <a:gridCol w="2926081">
                  <a:extLst>
                    <a:ext uri="{9D8B030D-6E8A-4147-A177-3AD203B41FA5}">
                      <a16:colId xmlns:a16="http://schemas.microsoft.com/office/drawing/2014/main" val="846449977"/>
                    </a:ext>
                  </a:extLst>
                </a:gridCol>
                <a:gridCol w="2926081">
                  <a:extLst>
                    <a:ext uri="{9D8B030D-6E8A-4147-A177-3AD203B41FA5}">
                      <a16:colId xmlns:a16="http://schemas.microsoft.com/office/drawing/2014/main" val="449674216"/>
                    </a:ext>
                  </a:extLst>
                </a:gridCol>
                <a:gridCol w="2926081">
                  <a:extLst>
                    <a:ext uri="{9D8B030D-6E8A-4147-A177-3AD203B41FA5}">
                      <a16:colId xmlns:a16="http://schemas.microsoft.com/office/drawing/2014/main" val="937072066"/>
                    </a:ext>
                  </a:extLst>
                </a:gridCol>
              </a:tblGrid>
              <a:tr h="367828"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 STA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CROSOFT ROADMAP ALIGNE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ST OF BREED ON AZUR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821000"/>
                  </a:ext>
                </a:extLst>
              </a:tr>
              <a:tr h="367828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CHNOLOGY OPTION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4951092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SINESS INTELLIGENC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292468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PROCES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Engineering Toolkit on Azure HDInsigh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Data Fact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ca IPa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8946649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-- TENANT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HDInsigh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Synaps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owflak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623371"/>
                  </a:ext>
                </a:extLst>
              </a:tr>
              <a:tr h="397511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– REFINE, ENR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HDInsigh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Clearlak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owflak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3433348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- RAW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3250870"/>
                  </a:ext>
                </a:extLst>
              </a:tr>
              <a:tr h="62530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P Standard – </a:t>
                      </a:r>
                      <a:r>
                        <a:rPr lang="en-U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llibra</a:t>
                      </a:r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</a:p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lin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Babyl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ca Data Manag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1168957"/>
                  </a:ext>
                </a:extLst>
              </a:tr>
              <a:tr h="275871">
                <a:tc gridSpan="4">
                  <a:txBody>
                    <a:bodyPr/>
                    <a:lstStyle/>
                    <a:p>
                      <a:pPr algn="ctr"/>
                      <a:endParaRPr lang="en-US" sz="900" b="1" spc="3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1043397"/>
                  </a:ext>
                </a:extLst>
              </a:tr>
              <a:tr h="367828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ALUATION CRITERIA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6443882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CASE COVERAG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613868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ST EFFICIENC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7178697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SE OF ADOP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395581"/>
                  </a:ext>
                </a:extLst>
              </a:tr>
              <a:tr h="367828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TIONAL SUSTAI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5689615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667C4C12-D2F2-4623-81E1-13632CB5316E}"/>
              </a:ext>
            </a:extLst>
          </p:cNvPr>
          <p:cNvGrpSpPr/>
          <p:nvPr/>
        </p:nvGrpSpPr>
        <p:grpSpPr>
          <a:xfrm>
            <a:off x="9518770" y="191867"/>
            <a:ext cx="212210" cy="213188"/>
            <a:chOff x="6850380" y="147484"/>
            <a:chExt cx="561176" cy="561176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3BA720C-14FD-4D39-A202-E68A5F31CEA3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6" name="Pie 33">
              <a:extLst>
                <a:ext uri="{FF2B5EF4-FFF2-40B4-BE49-F238E27FC236}">
                  <a16:creationId xmlns:a16="http://schemas.microsoft.com/office/drawing/2014/main" id="{D16EFA1A-C0F4-42DC-A3E8-645721B54CD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3558EA9-A07E-406B-B944-E313F553B8C2}"/>
              </a:ext>
            </a:extLst>
          </p:cNvPr>
          <p:cNvGrpSpPr/>
          <p:nvPr/>
        </p:nvGrpSpPr>
        <p:grpSpPr>
          <a:xfrm>
            <a:off x="10183242" y="191867"/>
            <a:ext cx="212210" cy="213188"/>
            <a:chOff x="6850380" y="147484"/>
            <a:chExt cx="561176" cy="56117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CB70DF5-A2BB-40EF-AD01-9BB869FE1199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9" name="Pie 36">
              <a:extLst>
                <a:ext uri="{FF2B5EF4-FFF2-40B4-BE49-F238E27FC236}">
                  <a16:creationId xmlns:a16="http://schemas.microsoft.com/office/drawing/2014/main" id="{8D1A0D50-8E51-4EDA-9F77-BD3C191AA5B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5400008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CCE6BC-060B-40CA-8771-C9EBF13D2F75}"/>
              </a:ext>
            </a:extLst>
          </p:cNvPr>
          <p:cNvGrpSpPr/>
          <p:nvPr/>
        </p:nvGrpSpPr>
        <p:grpSpPr>
          <a:xfrm>
            <a:off x="10515478" y="208326"/>
            <a:ext cx="212210" cy="213188"/>
            <a:chOff x="6850380" y="147484"/>
            <a:chExt cx="561176" cy="56117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CE670D6-460D-4F49-82DF-A7178FD228FC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" name="Pie 39">
              <a:extLst>
                <a:ext uri="{FF2B5EF4-FFF2-40B4-BE49-F238E27FC236}">
                  <a16:creationId xmlns:a16="http://schemas.microsoft.com/office/drawing/2014/main" id="{AC00C555-0C30-4EA9-855D-B5B45CAF04AF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326429"/>
                <a:gd name="adj2" fmla="val 21505513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9851006" y="191867"/>
            <a:ext cx="212210" cy="213188"/>
            <a:chOff x="6850380" y="147484"/>
            <a:chExt cx="561176" cy="56117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5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987D996C-BAE7-47EE-AFD3-77D628D75AFD}"/>
              </a:ext>
            </a:extLst>
          </p:cNvPr>
          <p:cNvSpPr/>
          <p:nvPr/>
        </p:nvSpPr>
        <p:spPr bwMode="auto">
          <a:xfrm>
            <a:off x="10847714" y="205175"/>
            <a:ext cx="212210" cy="21318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4E38F60F-54BA-1F42-88D8-53AE7D588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188" y="191867"/>
            <a:ext cx="11772901" cy="476864"/>
          </a:xfrm>
        </p:spPr>
        <p:txBody>
          <a:bodyPr/>
          <a:lstStyle/>
          <a:p>
            <a:r>
              <a:rPr lang="en-US" sz="2800" b="1" kern="0" dirty="0"/>
              <a:t>A20 ARCHITECTURE OPTIONS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72260198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28F98576-A185-4FE4-B770-F5A6542730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04016"/>
              </p:ext>
            </p:extLst>
          </p:nvPr>
        </p:nvGraphicFramePr>
        <p:xfrm>
          <a:off x="212763" y="743897"/>
          <a:ext cx="11772901" cy="564330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943225">
                  <a:extLst>
                    <a:ext uri="{9D8B030D-6E8A-4147-A177-3AD203B41FA5}">
                      <a16:colId xmlns:a16="http://schemas.microsoft.com/office/drawing/2014/main" val="1011285350"/>
                    </a:ext>
                  </a:extLst>
                </a:gridCol>
                <a:gridCol w="2463630">
                  <a:extLst>
                    <a:ext uri="{9D8B030D-6E8A-4147-A177-3AD203B41FA5}">
                      <a16:colId xmlns:a16="http://schemas.microsoft.com/office/drawing/2014/main" val="846449977"/>
                    </a:ext>
                  </a:extLst>
                </a:gridCol>
                <a:gridCol w="3422821">
                  <a:extLst>
                    <a:ext uri="{9D8B030D-6E8A-4147-A177-3AD203B41FA5}">
                      <a16:colId xmlns:a16="http://schemas.microsoft.com/office/drawing/2014/main" val="2023031537"/>
                    </a:ext>
                  </a:extLst>
                </a:gridCol>
                <a:gridCol w="2943225">
                  <a:extLst>
                    <a:ext uri="{9D8B030D-6E8A-4147-A177-3AD203B41FA5}">
                      <a16:colId xmlns:a16="http://schemas.microsoft.com/office/drawing/2014/main" val="937072066"/>
                    </a:ext>
                  </a:extLst>
                </a:gridCol>
              </a:tblGrid>
              <a:tr h="225772">
                <a:tc>
                  <a:txBody>
                    <a:bodyPr/>
                    <a:lstStyle/>
                    <a:p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 STAT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CROSOFT ROADMAP ALIGNE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ST OF BREED ON AZURE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5821000"/>
                  </a:ext>
                </a:extLst>
              </a:tr>
              <a:tr h="225772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spc="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CHNOLOGY OPTION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4951092"/>
                  </a:ext>
                </a:extLst>
              </a:tr>
              <a:tr h="225772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SINESS INTELLIGENC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werBI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SSAS, Tableau, Cogno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292468"/>
                  </a:ext>
                </a:extLst>
              </a:tr>
              <a:tr h="369445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PROCES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Engineering Toolkit on Azure HDInsigh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Data Factory</a:t>
                      </a:r>
                    </a:p>
                    <a:p>
                      <a:pPr algn="ctr"/>
                      <a:r>
                        <a:rPr lang="en-US" sz="1100" dirty="0" err="1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bricks</a:t>
                      </a:r>
                      <a:r>
                        <a:rPr lang="en-US" sz="11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add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ca</a:t>
                      </a:r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PaaS</a:t>
                      </a:r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100" dirty="0" err="1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ca</a:t>
                      </a:r>
                      <a:r>
                        <a:rPr lang="en-US" sz="11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D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8946649"/>
                  </a:ext>
                </a:extLst>
              </a:tr>
              <a:tr h="225772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-- TENAN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HDInsight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Synaps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owflak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623371"/>
                  </a:ext>
                </a:extLst>
              </a:tr>
              <a:tr h="369445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– REFINE, ENR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zure HDInsigh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zure Clearlake </a:t>
                      </a:r>
                    </a:p>
                    <a:p>
                      <a:pPr algn="ctr"/>
                      <a:r>
                        <a:rPr lang="en-US" sz="1100" kern="1200" dirty="0" err="1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tabricks</a:t>
                      </a:r>
                      <a:r>
                        <a:rPr lang="en-US" sz="1100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el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owflak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3433348"/>
                  </a:ext>
                </a:extLst>
              </a:tr>
              <a:tr h="225772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F PLATFORM - RAW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L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3250870"/>
                  </a:ext>
                </a:extLst>
              </a:tr>
              <a:tr h="369445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P Standard – </a:t>
                      </a:r>
                      <a:r>
                        <a:rPr lang="en-U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llibra</a:t>
                      </a:r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</a:p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lin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3645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zure Babyl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ca Data Manag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1168957"/>
                  </a:ext>
                </a:extLst>
              </a:tr>
              <a:tr h="225772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spc="3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ALUATION CRITERIA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6443882"/>
                  </a:ext>
                </a:extLst>
              </a:tr>
              <a:tr h="51311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 CASE COVERAGE </a:t>
                      </a:r>
                    </a:p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Analytical</a:t>
                      </a:r>
                      <a:r>
                        <a:rPr lang="en-US" sz="11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Governance, AI/ML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3645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tabricks can be leveraged for AI/ML use cases</a:t>
                      </a:r>
                    </a:p>
                    <a:p>
                      <a:pPr marL="171450" indent="-171450" algn="l" defTabSz="913645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nified Batch and Streaming – Databricks Delt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ditional process required to execute AI/ML use case on  Snowflake proprietar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613868"/>
                  </a:ext>
                </a:extLst>
              </a:tr>
              <a:tr h="369445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ST EFFICIENCIES </a:t>
                      </a:r>
                    </a:p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rice</a:t>
                      </a:r>
                      <a:r>
                        <a:rPr lang="en-US" sz="11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performance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3645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ower price performance $ per Query per Hour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orage Cost can be slightly higher  against standard Object store co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7178697"/>
                  </a:ext>
                </a:extLst>
              </a:tr>
              <a:tr h="680104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SE OF ADOPTION</a:t>
                      </a:r>
                    </a:p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killset, Development time, Migration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3645" rtl="0" eaLnBrk="1" latinLnBrk="0" hangingPunct="1"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egrated Development environment (Studio)</a:t>
                      </a:r>
                    </a:p>
                    <a:p>
                      <a:pPr marL="171450" marR="0" lvl="0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inuous Integration &amp; deployment using Azure DevOp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UI based and SQL Like Interface</a:t>
                      </a:r>
                    </a:p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celerator for Schema and Data Migration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395581"/>
                  </a:ext>
                </a:extLst>
              </a:tr>
              <a:tr h="513118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TIONAL SUSTAINABILITY (Maintainability,</a:t>
                      </a:r>
                      <a:r>
                        <a:rPr lang="en-US" sz="11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calability, Reliability 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3645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 pane of glass for all services</a:t>
                      </a:r>
                    </a:p>
                    <a:p>
                      <a:pPr marL="171450" indent="-171450" algn="l" defTabSz="913645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egration with Azure Monitor and Log Analytic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ultiple Access path Individual Service Management</a:t>
                      </a:r>
                    </a:p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line Scaling Snowflake 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5689615"/>
                  </a:ext>
                </a:extLst>
              </a:tr>
              <a:tr h="435964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u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tive Row, Column Level  &amp; Dynamic Data Mask Security</a:t>
                      </a:r>
                    </a:p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vanced Threat Pro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cure View Based Security control </a:t>
                      </a:r>
                    </a:p>
                    <a:p>
                      <a:pPr marL="171450" marR="0" lvl="1" indent="-171450" algn="l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 Native Azure Active Directory Integ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4628919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667C4C12-D2F2-4623-81E1-13632CB5316E}"/>
              </a:ext>
            </a:extLst>
          </p:cNvPr>
          <p:cNvGrpSpPr/>
          <p:nvPr/>
        </p:nvGrpSpPr>
        <p:grpSpPr>
          <a:xfrm>
            <a:off x="5387617" y="3725983"/>
            <a:ext cx="212210" cy="181427"/>
            <a:chOff x="6850380" y="147484"/>
            <a:chExt cx="561176" cy="561176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3BA720C-14FD-4D39-A202-E68A5F31CEA3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6" name="Pie 33">
              <a:extLst>
                <a:ext uri="{FF2B5EF4-FFF2-40B4-BE49-F238E27FC236}">
                  <a16:creationId xmlns:a16="http://schemas.microsoft.com/office/drawing/2014/main" id="{D16EFA1A-C0F4-42DC-A3E8-645721B54CD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CCE6BC-060B-40CA-8771-C9EBF13D2F75}"/>
              </a:ext>
            </a:extLst>
          </p:cNvPr>
          <p:cNvGrpSpPr/>
          <p:nvPr/>
        </p:nvGrpSpPr>
        <p:grpSpPr>
          <a:xfrm>
            <a:off x="10481189" y="148132"/>
            <a:ext cx="212210" cy="213188"/>
            <a:chOff x="6850380" y="147484"/>
            <a:chExt cx="561176" cy="56117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CE670D6-460D-4F49-82DF-A7178FD228FC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" name="Pie 39">
              <a:extLst>
                <a:ext uri="{FF2B5EF4-FFF2-40B4-BE49-F238E27FC236}">
                  <a16:creationId xmlns:a16="http://schemas.microsoft.com/office/drawing/2014/main" id="{AC00C555-0C30-4EA9-855D-B5B45CAF04AF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326429"/>
                <a:gd name="adj2" fmla="val 21505513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987D996C-BAE7-47EE-AFD3-77D628D75AFD}"/>
              </a:ext>
            </a:extLst>
          </p:cNvPr>
          <p:cNvSpPr/>
          <p:nvPr/>
        </p:nvSpPr>
        <p:spPr bwMode="auto">
          <a:xfrm>
            <a:off x="10813425" y="144981"/>
            <a:ext cx="212210" cy="21318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4E38F60F-54BA-1F42-88D8-53AE7D588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188" y="191867"/>
            <a:ext cx="11772901" cy="476864"/>
          </a:xfrm>
        </p:spPr>
        <p:txBody>
          <a:bodyPr/>
          <a:lstStyle/>
          <a:p>
            <a:r>
              <a:rPr lang="en-US" sz="2800" b="1" kern="0" dirty="0"/>
              <a:t>A20 ARCHITECTURE OPTIONS </a:t>
            </a:r>
            <a:endParaRPr lang="en-US" sz="2800" b="1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67C4C12-D2F2-4623-81E1-13632CB5316E}"/>
              </a:ext>
            </a:extLst>
          </p:cNvPr>
          <p:cNvGrpSpPr/>
          <p:nvPr/>
        </p:nvGrpSpPr>
        <p:grpSpPr>
          <a:xfrm>
            <a:off x="11821787" y="3791332"/>
            <a:ext cx="212210" cy="181427"/>
            <a:chOff x="6850380" y="147484"/>
            <a:chExt cx="561176" cy="56117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3BA720C-14FD-4D39-A202-E68A5F31CEA3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20" name="Pie 33">
              <a:extLst>
                <a:ext uri="{FF2B5EF4-FFF2-40B4-BE49-F238E27FC236}">
                  <a16:creationId xmlns:a16="http://schemas.microsoft.com/office/drawing/2014/main" id="{D16EFA1A-C0F4-42DC-A3E8-645721B54CD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11821787" y="5355483"/>
            <a:ext cx="212210" cy="181427"/>
            <a:chOff x="6850380" y="147484"/>
            <a:chExt cx="561176" cy="56117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26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5387617" y="5387253"/>
            <a:ext cx="212210" cy="181427"/>
            <a:chOff x="6850380" y="147484"/>
            <a:chExt cx="561176" cy="56117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32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67C4C12-D2F2-4623-81E1-13632CB5316E}"/>
              </a:ext>
            </a:extLst>
          </p:cNvPr>
          <p:cNvGrpSpPr/>
          <p:nvPr/>
        </p:nvGrpSpPr>
        <p:grpSpPr>
          <a:xfrm>
            <a:off x="5387617" y="4211270"/>
            <a:ext cx="212210" cy="181427"/>
            <a:chOff x="6850380" y="147484"/>
            <a:chExt cx="561176" cy="561176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3BA720C-14FD-4D39-A202-E68A5F31CEA3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41" name="Pie 33">
              <a:extLst>
                <a:ext uri="{FF2B5EF4-FFF2-40B4-BE49-F238E27FC236}">
                  <a16:creationId xmlns:a16="http://schemas.microsoft.com/office/drawing/2014/main" id="{D16EFA1A-C0F4-42DC-A3E8-645721B54CD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11821787" y="4179237"/>
            <a:ext cx="212210" cy="181427"/>
            <a:chOff x="6850380" y="147484"/>
            <a:chExt cx="561176" cy="561176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47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11821787" y="5878361"/>
            <a:ext cx="212210" cy="181427"/>
            <a:chOff x="6850380" y="147484"/>
            <a:chExt cx="561176" cy="56117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59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67C4C12-D2F2-4623-81E1-13632CB5316E}"/>
              </a:ext>
            </a:extLst>
          </p:cNvPr>
          <p:cNvGrpSpPr/>
          <p:nvPr/>
        </p:nvGrpSpPr>
        <p:grpSpPr>
          <a:xfrm>
            <a:off x="5387617" y="5896835"/>
            <a:ext cx="212210" cy="181427"/>
            <a:chOff x="6850380" y="147484"/>
            <a:chExt cx="561176" cy="561176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3BA720C-14FD-4D39-A202-E68A5F31CEA3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62" name="Pie 33">
              <a:extLst>
                <a:ext uri="{FF2B5EF4-FFF2-40B4-BE49-F238E27FC236}">
                  <a16:creationId xmlns:a16="http://schemas.microsoft.com/office/drawing/2014/main" id="{D16EFA1A-C0F4-42DC-A3E8-645721B54CD3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5387617" y="4666947"/>
            <a:ext cx="212210" cy="181427"/>
            <a:chOff x="6850380" y="147484"/>
            <a:chExt cx="561176" cy="561176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49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8B7F3B3-4E6D-4A37-82CB-223B223FFF6F}"/>
              </a:ext>
            </a:extLst>
          </p:cNvPr>
          <p:cNvGrpSpPr/>
          <p:nvPr/>
        </p:nvGrpSpPr>
        <p:grpSpPr>
          <a:xfrm>
            <a:off x="11821787" y="4750044"/>
            <a:ext cx="212210" cy="181427"/>
            <a:chOff x="6850380" y="147484"/>
            <a:chExt cx="561176" cy="561176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744874B9-90C9-42A7-8240-0B0DE8642536}"/>
                </a:ext>
              </a:extLst>
            </p:cNvPr>
            <p:cNvSpPr/>
            <p:nvPr/>
          </p:nvSpPr>
          <p:spPr bwMode="auto">
            <a:xfrm>
              <a:off x="6850380" y="147484"/>
              <a:ext cx="561176" cy="56117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55" name="Pie 42">
              <a:extLst>
                <a:ext uri="{FF2B5EF4-FFF2-40B4-BE49-F238E27FC236}">
                  <a16:creationId xmlns:a16="http://schemas.microsoft.com/office/drawing/2014/main" id="{EA6D53CA-AD11-410D-90BF-90CB92DE9E4D}"/>
                </a:ext>
              </a:extLst>
            </p:cNvPr>
            <p:cNvSpPr/>
            <p:nvPr/>
          </p:nvSpPr>
          <p:spPr bwMode="auto">
            <a:xfrm>
              <a:off x="6858676" y="155780"/>
              <a:ext cx="544584" cy="544584"/>
            </a:xfrm>
            <a:prstGeom prst="pie">
              <a:avLst>
                <a:gd name="adj1" fmla="val 16209327"/>
                <a:gd name="adj2" fmla="val 1076622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582511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4E38F60F-54BA-1F42-88D8-53AE7D588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188" y="191867"/>
            <a:ext cx="11772901" cy="476864"/>
          </a:xfrm>
        </p:spPr>
        <p:txBody>
          <a:bodyPr/>
          <a:lstStyle/>
          <a:p>
            <a:r>
              <a:rPr lang="en-US" sz="2800" b="1" kern="0" dirty="0"/>
              <a:t>A20 – Use Cases</a:t>
            </a:r>
            <a:endParaRPr lang="en-US" sz="2800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222626"/>
              </p:ext>
            </p:extLst>
          </p:nvPr>
        </p:nvGraphicFramePr>
        <p:xfrm>
          <a:off x="608148" y="1123406"/>
          <a:ext cx="10051143" cy="2926080"/>
        </p:xfrm>
        <a:graphic>
          <a:graphicData uri="http://schemas.openxmlformats.org/drawingml/2006/table">
            <a:tbl>
              <a:tblPr firstCol="1" bandRow="1">
                <a:tableStyleId>{7DF18680-E054-41AD-8BC1-D1AEF772440D}</a:tableStyleId>
              </a:tblPr>
              <a:tblGrid>
                <a:gridCol w="3674051">
                  <a:extLst>
                    <a:ext uri="{9D8B030D-6E8A-4147-A177-3AD203B41FA5}">
                      <a16:colId xmlns:a16="http://schemas.microsoft.com/office/drawing/2014/main" val="1205006785"/>
                    </a:ext>
                  </a:extLst>
                </a:gridCol>
                <a:gridCol w="6377092">
                  <a:extLst>
                    <a:ext uri="{9D8B030D-6E8A-4147-A177-3AD203B41FA5}">
                      <a16:colId xmlns:a16="http://schemas.microsoft.com/office/drawing/2014/main" val="4142944779"/>
                    </a:ext>
                  </a:extLst>
                </a:gridCol>
              </a:tblGrid>
              <a:tr h="33725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ourci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uctured and Semi Structured Dataset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35202510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l Time, Near Time and Batch Ingestion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40260089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Zo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ulti-Tier Data Storage to support Multiple business needs (Raw/Refined/Enriched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3805701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 Quality and Enterprise level data conformation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40873368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Driven Business Data need (Tenant Zone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19210867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marL="0" marR="0" lvl="0" indent="0" algn="ctr" defTabSz="9136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ata Architec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alable and Available Architectur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80459969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defTabSz="91364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fficient and Performance Oriented Process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12637540"/>
                  </a:ext>
                </a:extLst>
              </a:tr>
              <a:tr h="33725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3645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ug and Play Design – Support API, 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aS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341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07136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4E38F60F-54BA-1F42-88D8-53AE7D588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188" y="191867"/>
            <a:ext cx="11772901" cy="476864"/>
          </a:xfrm>
        </p:spPr>
        <p:txBody>
          <a:bodyPr/>
          <a:lstStyle/>
          <a:p>
            <a:r>
              <a:rPr lang="en-US" sz="2800" b="1" kern="0" dirty="0"/>
              <a:t>A20 ARCHITECTURE OPTIONS – Technical Highlights </a:t>
            </a:r>
            <a:endParaRPr lang="en-US" sz="2800" b="1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F6C341BA-790D-40B2-8201-C953D5EDDFC0}"/>
              </a:ext>
            </a:extLst>
          </p:cNvPr>
          <p:cNvSpPr txBox="1">
            <a:spLocks/>
          </p:cNvSpPr>
          <p:nvPr/>
        </p:nvSpPr>
        <p:spPr>
          <a:xfrm>
            <a:off x="397984" y="792553"/>
            <a:ext cx="5486400" cy="274058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342618" indent="-34261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6699"/>
              </a:buClr>
              <a:buFont typeface="Wingdings" pitchFamily="2" charset="2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74621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403215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627047" indent="-1666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Char char="•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5699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2521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69344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6165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2987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2400" kern="0" dirty="0">
                <a:solidFill>
                  <a:srgbClr val="0078D7"/>
                </a:solidFill>
              </a:rPr>
              <a:t>Azure Synapse Analytics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Most comprehensive security built-in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Industry leading price/performance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Intelligent Workload Management (WLM)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Data Lake Integra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1CD85D02-00F5-41CF-A79D-5C0A3FF6D5A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665" y="982619"/>
            <a:ext cx="584460" cy="584460"/>
          </a:xfrm>
          <a:prstGeom prst="rect">
            <a:avLst/>
          </a:prstGeom>
        </p:spPr>
      </p:pic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B627445C-A74F-4989-9689-8C2EA30128F0}"/>
              </a:ext>
            </a:extLst>
          </p:cNvPr>
          <p:cNvSpPr txBox="1">
            <a:spLocks/>
          </p:cNvSpPr>
          <p:nvPr/>
        </p:nvSpPr>
        <p:spPr>
          <a:xfrm>
            <a:off x="6267403" y="776869"/>
            <a:ext cx="5486400" cy="2740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342618" indent="-34261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6699"/>
              </a:buClr>
              <a:buFont typeface="Wingdings" pitchFamily="2" charset="2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74621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403215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627047" indent="-1666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Char char="•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5699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2521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69344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6165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2987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2400" kern="0" dirty="0">
                <a:solidFill>
                  <a:srgbClr val="0078D7"/>
                </a:solidFill>
              </a:rPr>
              <a:t>Snowflake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Built for the cloud”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Breathtaking Performance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Unlimited Concurrency</a:t>
            </a: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Zero-management </a:t>
            </a:r>
            <a:r>
              <a:rPr lang="en-US" sz="1600" kern="0" dirty="0" err="1">
                <a:solidFill>
                  <a:srgbClr val="000000"/>
                </a:solidFill>
              </a:rPr>
              <a:t>DWaaS</a:t>
            </a:r>
            <a:endParaRPr lang="en-US" sz="1600" kern="0" dirty="0">
              <a:solidFill>
                <a:srgbClr val="000000"/>
              </a:solidFill>
            </a:endParaRPr>
          </a:p>
          <a:p>
            <a:pPr marL="0"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Dynamic elasticity to mixed and dynamic workload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6763EA41-7116-45DD-8964-324B2EA7250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27" r="74050" b="23522"/>
          <a:stretch/>
        </p:blipFill>
        <p:spPr>
          <a:xfrm>
            <a:off x="10973401" y="977666"/>
            <a:ext cx="584460" cy="589629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6C341BA-790D-40B2-8201-C953D5EDDFC0}"/>
              </a:ext>
            </a:extLst>
          </p:cNvPr>
          <p:cNvSpPr txBox="1">
            <a:spLocks/>
          </p:cNvSpPr>
          <p:nvPr/>
        </p:nvSpPr>
        <p:spPr>
          <a:xfrm>
            <a:off x="397984" y="3648653"/>
            <a:ext cx="5486400" cy="274058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342618" indent="-34261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6699"/>
              </a:buClr>
              <a:buFont typeface="Wingdings" pitchFamily="2" charset="2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74621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403215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627047" indent="-1666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Char char="•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5699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2521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69344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6165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2987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2400" kern="0" dirty="0" err="1">
                <a:solidFill>
                  <a:srgbClr val="0078D7"/>
                </a:solidFill>
              </a:rPr>
              <a:t>Databricks</a:t>
            </a:r>
            <a:endParaRPr lang="en-US" sz="2400" kern="0" dirty="0">
              <a:solidFill>
                <a:srgbClr val="0078D7"/>
              </a:solidFill>
            </a:endParaRPr>
          </a:p>
          <a:p>
            <a:pPr marL="0"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 err="1">
                <a:solidFill>
                  <a:srgbClr val="000000"/>
                </a:solidFill>
              </a:rPr>
              <a:t>Databricks</a:t>
            </a:r>
            <a:r>
              <a:rPr lang="en-US" sz="1600" kern="0" dirty="0">
                <a:solidFill>
                  <a:srgbClr val="000000"/>
                </a:solidFill>
              </a:rPr>
              <a:t> Delta, a powerful transactional storage layer that harnesses the power of Apache Spark and </a:t>
            </a:r>
            <a:r>
              <a:rPr lang="en-US" sz="1600" kern="0" dirty="0" err="1">
                <a:solidFill>
                  <a:srgbClr val="000000"/>
                </a:solidFill>
              </a:rPr>
              <a:t>Databricks</a:t>
            </a:r>
            <a:r>
              <a:rPr lang="en-US" sz="1600" kern="0" dirty="0">
                <a:solidFill>
                  <a:srgbClr val="000000"/>
                </a:solidFill>
              </a:rPr>
              <a:t> DBFS.</a:t>
            </a:r>
          </a:p>
          <a:p>
            <a:pPr marL="0"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Pools - Fast and isolated job submission using standby pool of instances</a:t>
            </a:r>
          </a:p>
          <a:p>
            <a:pPr marL="0">
              <a:lnSpc>
                <a:spcPct val="110000"/>
              </a:lnSpc>
              <a:spcAft>
                <a:spcPts val="1000"/>
              </a:spcAft>
            </a:pPr>
            <a:r>
              <a:rPr lang="en-US" sz="1600" kern="0" dirty="0">
                <a:solidFill>
                  <a:srgbClr val="000000"/>
                </a:solidFill>
              </a:rPr>
              <a:t>Seamless integration with Azure Services - Azure Data Factory &amp; Synapse Analytics 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27445C-A74F-4989-9689-8C2EA30128F0}"/>
              </a:ext>
            </a:extLst>
          </p:cNvPr>
          <p:cNvSpPr txBox="1">
            <a:spLocks/>
          </p:cNvSpPr>
          <p:nvPr/>
        </p:nvSpPr>
        <p:spPr>
          <a:xfrm>
            <a:off x="6267403" y="3632969"/>
            <a:ext cx="5486400" cy="27405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342618" indent="-34261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6699"/>
              </a:buClr>
              <a:buFont typeface="Wingdings" pitchFamily="2" charset="2"/>
              <a:defRPr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74621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403215" indent="-174621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627047" indent="-1666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Char char="•"/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5699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2521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69344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6165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2987" indent="-2284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2400" kern="0" dirty="0">
                <a:solidFill>
                  <a:srgbClr val="0078D7"/>
                </a:solidFill>
              </a:rPr>
              <a:t>Hive</a:t>
            </a:r>
          </a:p>
          <a:p>
            <a:pPr fontAlgn="ctr"/>
            <a:r>
              <a:rPr lang="en-US" dirty="0"/>
              <a:t>Not True RDBMS, Not designed for OLTP</a:t>
            </a:r>
          </a:p>
          <a:p>
            <a:pPr fontAlgn="ctr"/>
            <a:r>
              <a:rPr lang="en-US" dirty="0"/>
              <a:t>Latency of Apache Hive queries is generally very high</a:t>
            </a:r>
          </a:p>
          <a:p>
            <a:pPr fontAlgn="ctr"/>
            <a:r>
              <a:rPr lang="en-US" dirty="0"/>
              <a:t>Hive and Spark have </a:t>
            </a:r>
            <a:r>
              <a:rPr lang="en-US"/>
              <a:t>interoperability challenges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8462" y="3684010"/>
            <a:ext cx="543104" cy="54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10624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Custom 72">
      <a:dk1>
        <a:sysClr val="windowText" lastClr="000000"/>
      </a:dk1>
      <a:lt1>
        <a:sysClr val="window" lastClr="FFFFFF"/>
      </a:lt1>
      <a:dk2>
        <a:srgbClr val="404040"/>
      </a:dk2>
      <a:lt2>
        <a:srgbClr val="E7E6E6"/>
      </a:lt2>
      <a:accent1>
        <a:srgbClr val="1F497D"/>
      </a:accent1>
      <a:accent2>
        <a:srgbClr val="0070C0"/>
      </a:accent2>
      <a:accent3>
        <a:srgbClr val="383838"/>
      </a:accent3>
      <a:accent4>
        <a:srgbClr val="00B0F0"/>
      </a:accent4>
      <a:accent5>
        <a:srgbClr val="EA7600"/>
      </a:accent5>
      <a:accent6>
        <a:srgbClr val="7030A0"/>
      </a:accent6>
      <a:hlink>
        <a:srgbClr val="383838"/>
      </a:hlink>
      <a:folHlink>
        <a:srgbClr val="383838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016_CSDT_Template_White">
  <a:themeElements>
    <a:clrScheme name="CSDT_2016">
      <a:dk1>
        <a:sysClr val="windowText" lastClr="000000"/>
      </a:dk1>
      <a:lt1>
        <a:sysClr val="window" lastClr="FFFFFF"/>
      </a:lt1>
      <a:dk2>
        <a:srgbClr val="006BA6"/>
      </a:dk2>
      <a:lt2>
        <a:srgbClr val="959595"/>
      </a:lt2>
      <a:accent1>
        <a:srgbClr val="00A19B"/>
      </a:accent1>
      <a:accent2>
        <a:srgbClr val="57A635"/>
      </a:accent2>
      <a:accent3>
        <a:srgbClr val="F0AA1F"/>
      </a:accent3>
      <a:accent4>
        <a:srgbClr val="5F64AD"/>
      </a:accent4>
      <a:accent5>
        <a:srgbClr val="003B71"/>
      </a:accent5>
      <a:accent6>
        <a:srgbClr val="BB1654"/>
      </a:accent6>
      <a:hlink>
        <a:srgbClr val="006D9D"/>
      </a:hlink>
      <a:folHlink>
        <a:srgbClr val="006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AEAEA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noFill/>
        <a:ln w="19050" algn="ctr">
          <a:solidFill>
            <a:schemeClr val="bg1">
              <a:lumMod val="75000"/>
            </a:schemeClr>
          </a:solidFill>
          <a:round/>
          <a:headEnd type="none" w="med" len="med"/>
          <a:tailEnd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3_Corp Plan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orp Plann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orp Plann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ontent Slide">
  <a:themeElements>
    <a:clrScheme name="mssa navy">
      <a:dk1>
        <a:srgbClr val="000000"/>
      </a:dk1>
      <a:lt1>
        <a:srgbClr val="FFFFFF"/>
      </a:lt1>
      <a:dk2>
        <a:srgbClr val="AAB198"/>
      </a:dk2>
      <a:lt2>
        <a:srgbClr val="71C5E8"/>
      </a:lt2>
      <a:accent1>
        <a:srgbClr val="7FB741"/>
      </a:accent1>
      <a:accent2>
        <a:srgbClr val="8B84D7"/>
      </a:accent2>
      <a:accent3>
        <a:srgbClr val="FFFFFF"/>
      </a:accent3>
      <a:accent4>
        <a:srgbClr val="000000"/>
      </a:accent4>
      <a:accent5>
        <a:srgbClr val="006BA6"/>
      </a:accent5>
      <a:accent6>
        <a:srgbClr val="003C71"/>
      </a:accent6>
      <a:hlink>
        <a:srgbClr val="7FB741"/>
      </a:hlink>
      <a:folHlink>
        <a:srgbClr val="7FB741"/>
      </a:folHlink>
    </a:clrScheme>
    <a:fontScheme name="Content Slide">
      <a:majorFont>
        <a:latin typeface="Arial Narrow"/>
        <a:ea typeface="ＭＳ Ｐゴシック"/>
        <a:cs typeface="Arial"/>
      </a:majorFont>
      <a:minorFont>
        <a:latin typeface="Arial Narrow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 Narrow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 Narrow" charset="0"/>
            <a:ea typeface="ＭＳ Ｐゴシック" charset="0"/>
          </a:defRPr>
        </a:defPPr>
      </a:lstStyle>
    </a:lnDef>
  </a:objectDefaults>
  <a:extraClrSchemeLst>
    <a:extraClrScheme>
      <a:clrScheme name="Content Slide 1">
        <a:dk1>
          <a:srgbClr val="000000"/>
        </a:dk1>
        <a:lt1>
          <a:srgbClr val="FFFFFF"/>
        </a:lt1>
        <a:dk2>
          <a:srgbClr val="52ABD5"/>
        </a:dk2>
        <a:lt2>
          <a:srgbClr val="AAB198"/>
        </a:lt2>
        <a:accent1>
          <a:srgbClr val="5EBEA5"/>
        </a:accent1>
        <a:accent2>
          <a:srgbClr val="8086C1"/>
        </a:accent2>
        <a:accent3>
          <a:srgbClr val="FFFFFF"/>
        </a:accent3>
        <a:accent4>
          <a:srgbClr val="000000"/>
        </a:accent4>
        <a:accent5>
          <a:srgbClr val="B6DBCF"/>
        </a:accent5>
        <a:accent6>
          <a:srgbClr val="7379AF"/>
        </a:accent6>
        <a:hlink>
          <a:srgbClr val="7FB741"/>
        </a:hlink>
        <a:folHlink>
          <a:srgbClr val="DA64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2425E175A2E94BB01C8049B5C6836F" ma:contentTypeVersion="10" ma:contentTypeDescription="Create a new document." ma:contentTypeScope="" ma:versionID="1de7ea432a99d6b804099dba35f1b4b4">
  <xsd:schema xmlns:xsd="http://www.w3.org/2001/XMLSchema" xmlns:xs="http://www.w3.org/2001/XMLSchema" xmlns:p="http://schemas.microsoft.com/office/2006/metadata/properties" xmlns:ns2="ec32aa3f-1e15-410c-aff8-ea2e5e39018b" targetNamespace="http://schemas.microsoft.com/office/2006/metadata/properties" ma:root="true" ma:fieldsID="50ee8968087629da4887789349444187" ns2:_="">
    <xsd:import namespace="ec32aa3f-1e15-410c-aff8-ea2e5e3901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32aa3f-1e15-410c-aff8-ea2e5e3901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ec32aa3f-1e15-410c-aff8-ea2e5e39018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DD40DF-DF2C-4C18-BB5E-271E93265C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32aa3f-1e15-410c-aff8-ea2e5e3901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42C586-EB4E-4C67-85AF-152662218726}">
  <ds:schemaRefs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ec32aa3f-1e15-410c-aff8-ea2e5e39018b"/>
  </ds:schemaRefs>
</ds:datastoreItem>
</file>

<file path=customXml/itemProps3.xml><?xml version="1.0" encoding="utf-8"?>
<ds:datastoreItem xmlns:ds="http://schemas.openxmlformats.org/officeDocument/2006/customXml" ds:itemID="{4D4458FA-62EA-4A8F-A017-9A7260EF16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46</TotalTime>
  <Words>557</Words>
  <Application>Microsoft Office PowerPoint</Application>
  <PresentationFormat>Widescreen</PresentationFormat>
  <Paragraphs>12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Century Gothic</vt:lpstr>
      <vt:lpstr>Lucida Grande</vt:lpstr>
      <vt:lpstr>Times New Roman</vt:lpstr>
      <vt:lpstr>Wingdings</vt:lpstr>
      <vt:lpstr>2_Custom Design</vt:lpstr>
      <vt:lpstr>2016_CSDT_Template_White</vt:lpstr>
      <vt:lpstr>3_Content Slide</vt:lpstr>
      <vt:lpstr>think-cell Slide</vt:lpstr>
      <vt:lpstr>A20 ARCHITECTURE OPTIONS </vt:lpstr>
      <vt:lpstr>A20 ARCHITECTURE OPTIONS </vt:lpstr>
      <vt:lpstr>A20 – Use Cases</vt:lpstr>
      <vt:lpstr>A20 ARCHITECTURE OPTIONS – Technical Highligh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rnize IT Infrastructure Track Status Reports</dc:title>
  <dc:creator>Sonali Niswander</dc:creator>
  <cp:lastModifiedBy>Dave Cheema</cp:lastModifiedBy>
  <cp:revision>133</cp:revision>
  <cp:lastPrinted>2019-10-23T17:09:42Z</cp:lastPrinted>
  <dcterms:created xsi:type="dcterms:W3CDTF">2018-04-16T22:15:01Z</dcterms:created>
  <dcterms:modified xsi:type="dcterms:W3CDTF">2020-02-25T03:5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2425E175A2E94BB01C8049B5C6836F</vt:lpwstr>
  </property>
</Properties>
</file>